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3.xml" ContentType="application/vnd.openxmlformats-officedocument.presentationml.tags+xml"/>
  <Override PartName="/ppt/notesSlides/notesSlide3.xml" ContentType="application/vnd.openxmlformats-officedocument.presentationml.notesSlide+xml"/>
  <Override PartName="/ppt/tags/tag34.xml" ContentType="application/vnd.openxmlformats-officedocument.presentationml.tags+xml"/>
  <Override PartName="/ppt/notesSlides/notesSlide4.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5.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10"/>
  </p:notesMasterIdLst>
  <p:handoutMasterIdLst>
    <p:handoutMasterId r:id="rId11"/>
  </p:handoutMasterIdLst>
  <p:sldIdLst>
    <p:sldId id="256" r:id="rId2"/>
    <p:sldId id="257" r:id="rId3"/>
    <p:sldId id="258" r:id="rId4"/>
    <p:sldId id="297" r:id="rId5"/>
    <p:sldId id="298" r:id="rId6"/>
    <p:sldId id="299" r:id="rId7"/>
    <p:sldId id="261" r:id="rId8"/>
    <p:sldId id="260" r:id="rId9"/>
  </p:sldIdLst>
  <p:sldSz cx="12192000" cy="6858000"/>
  <p:notesSz cx="6950075" cy="9236075"/>
  <p:custShowLst>
    <p:custShow name="Format Guide Workshop" id="0">
      <p:sldLst/>
    </p:custShow>
  </p:custShowLst>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6A10C"/>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6323" autoAdjust="0"/>
  </p:normalViewPr>
  <p:slideViewPr>
    <p:cSldViewPr snapToGrid="0">
      <p:cViewPr>
        <p:scale>
          <a:sx n="110" d="100"/>
          <a:sy n="110" d="100"/>
        </p:scale>
        <p:origin x="78" y="138"/>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4/18/2021</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4/18/2021</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8518180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a:t>
            </a:fld>
            <a:endParaRPr lang="en-US" dirty="0"/>
          </a:p>
        </p:txBody>
      </p:sp>
    </p:spTree>
    <p:extLst>
      <p:ext uri="{BB962C8B-B14F-4D97-AF65-F5344CB8AC3E}">
        <p14:creationId xmlns:p14="http://schemas.microsoft.com/office/powerpoint/2010/main" val="7566013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2</a:t>
            </a:fld>
            <a:endParaRPr lang="en-US" dirty="0"/>
          </a:p>
        </p:txBody>
      </p:sp>
    </p:spTree>
    <p:extLst>
      <p:ext uri="{BB962C8B-B14F-4D97-AF65-F5344CB8AC3E}">
        <p14:creationId xmlns:p14="http://schemas.microsoft.com/office/powerpoint/2010/main" val="18326595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3</a:t>
            </a:fld>
            <a:endParaRPr lang="en-US" dirty="0"/>
          </a:p>
        </p:txBody>
      </p:sp>
    </p:spTree>
    <p:extLst>
      <p:ext uri="{BB962C8B-B14F-4D97-AF65-F5344CB8AC3E}">
        <p14:creationId xmlns:p14="http://schemas.microsoft.com/office/powerpoint/2010/main" val="33703752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4</a:t>
            </a:fld>
            <a:endParaRPr lang="en-US" dirty="0"/>
          </a:p>
        </p:txBody>
      </p:sp>
    </p:spTree>
    <p:extLst>
      <p:ext uri="{BB962C8B-B14F-4D97-AF65-F5344CB8AC3E}">
        <p14:creationId xmlns:p14="http://schemas.microsoft.com/office/powerpoint/2010/main" val="33703752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5</a:t>
            </a:fld>
            <a:endParaRPr lang="en-US" dirty="0"/>
          </a:p>
        </p:txBody>
      </p:sp>
    </p:spTree>
    <p:extLst>
      <p:ext uri="{BB962C8B-B14F-4D97-AF65-F5344CB8AC3E}">
        <p14:creationId xmlns:p14="http://schemas.microsoft.com/office/powerpoint/2010/main" val="33703752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7</a:t>
            </a:fld>
            <a:endParaRPr lang="en-US" dirty="0"/>
          </a:p>
        </p:txBody>
      </p:sp>
    </p:spTree>
    <p:extLst>
      <p:ext uri="{BB962C8B-B14F-4D97-AF65-F5344CB8AC3E}">
        <p14:creationId xmlns:p14="http://schemas.microsoft.com/office/powerpoint/2010/main" val="339254547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10.xml"/><Relationship Id="rId7" Type="http://schemas.openxmlformats.org/officeDocument/2006/relationships/image" Target="../media/image2.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3.xml"/><Relationship Id="rId7" Type="http://schemas.openxmlformats.org/officeDocument/2006/relationships/oleObject" Target="../embeddings/oleObject6.bin"/><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15.xml"/><Relationship Id="rId10" Type="http://schemas.openxmlformats.org/officeDocument/2006/relationships/image" Target="../media/image4.jpg"/><Relationship Id="rId4" Type="http://schemas.openxmlformats.org/officeDocument/2006/relationships/tags" Target="../tags/tag14.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7.v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19.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7.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0"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72"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19"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92"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34"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196"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41"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14"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5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7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99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2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4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7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9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1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4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94"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2.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0.xml"/><Relationship Id="rId7" Type="http://schemas.openxmlformats.org/officeDocument/2006/relationships/image" Target="../media/image11.png"/><Relationship Id="rId2" Type="http://schemas.openxmlformats.org/officeDocument/2006/relationships/tags" Target="../tags/tag33.xml"/><Relationship Id="rId1" Type="http://schemas.openxmlformats.org/officeDocument/2006/relationships/vmlDrawing" Target="../drawings/vmlDrawing20.vml"/><Relationship Id="rId6" Type="http://schemas.openxmlformats.org/officeDocument/2006/relationships/image" Target="../media/image10.emf"/><Relationship Id="rId5" Type="http://schemas.openxmlformats.org/officeDocument/2006/relationships/oleObject" Target="../embeddings/oleObject20.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0.xml"/><Relationship Id="rId1" Type="http://schemas.openxmlformats.org/officeDocument/2006/relationships/tags" Target="../tags/tag34.xml"/><Relationship Id="rId4" Type="http://schemas.openxmlformats.org/officeDocument/2006/relationships/image" Target="../media/image12.png"/></Relationships>
</file>

<file path=ppt/slides/_rels/slide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36.xml"/><Relationship Id="rId7" Type="http://schemas.openxmlformats.org/officeDocument/2006/relationships/image" Target="../media/image10.emf"/><Relationship Id="rId2" Type="http://schemas.openxmlformats.org/officeDocument/2006/relationships/tags" Target="../tags/tag35.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5.xml"/><Relationship Id="rId4" Type="http://schemas.openxmlformats.org/officeDocument/2006/relationships/slideLayout" Target="../slideLayouts/slideLayout30.xml"/></Relationships>
</file>

<file path=ppt/slides/_rels/slide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38.xml"/><Relationship Id="rId7" Type="http://schemas.openxmlformats.org/officeDocument/2006/relationships/image" Target="../media/image10.emf"/><Relationship Id="rId2" Type="http://schemas.openxmlformats.org/officeDocument/2006/relationships/tags" Target="../tags/tag37.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6.xml"/><Relationship Id="rId4"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145178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53"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Picture Placeholder 13"/>
          <p:cNvSpPr>
            <a:spLocks noGrp="1"/>
          </p:cNvSpPr>
          <p:nvPr>
            <p:ph type="pic" sz="quarter" idx="13"/>
          </p:nvPr>
        </p:nvSpPr>
        <p:spPr/>
      </p:sp>
      <p:sp>
        <p:nvSpPr>
          <p:cNvPr id="13" name="Text Placeholder 12"/>
          <p:cNvSpPr>
            <a:spLocks noGrp="1"/>
          </p:cNvSpPr>
          <p:nvPr>
            <p:ph type="body" sz="quarter" idx="12"/>
          </p:nvPr>
        </p:nvSpPr>
        <p:spPr/>
        <p:txBody>
          <a:bodyPr/>
          <a:lstStyle/>
          <a:p>
            <a:endParaRPr lang="en-US"/>
          </a:p>
        </p:txBody>
      </p:sp>
      <p:sp>
        <p:nvSpPr>
          <p:cNvPr id="12" name="Subtitle 11"/>
          <p:cNvSpPr>
            <a:spLocks noGrp="1"/>
          </p:cNvSpPr>
          <p:nvPr>
            <p:ph type="subTitle" idx="1"/>
          </p:nvPr>
        </p:nvSpPr>
        <p:spPr/>
        <p:txBody>
          <a:bodyPr/>
          <a:lstStyle/>
          <a:p>
            <a:endParaRPr lang="en-US"/>
          </a:p>
        </p:txBody>
      </p:sp>
      <p:sp>
        <p:nvSpPr>
          <p:cNvPr id="11" name="Title 10"/>
          <p:cNvSpPr>
            <a:spLocks noGrp="1"/>
          </p:cNvSpPr>
          <p:nvPr>
            <p:ph type="ctrTitle"/>
          </p:nvPr>
        </p:nvSpPr>
        <p:spPr/>
        <p:txBody>
          <a:bodyPr/>
          <a:lstStyle/>
          <a:p>
            <a:endParaRPr lang="en-US"/>
          </a:p>
        </p:txBody>
      </p:sp>
    </p:spTree>
    <p:extLst>
      <p:ext uri="{BB962C8B-B14F-4D97-AF65-F5344CB8AC3E}">
        <p14:creationId xmlns:p14="http://schemas.microsoft.com/office/powerpoint/2010/main" val="19061963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endParaRPr lang="en-US"/>
          </a:p>
        </p:txBody>
      </p:sp>
    </p:spTree>
    <p:extLst>
      <p:ext uri="{BB962C8B-B14F-4D97-AF65-F5344CB8AC3E}">
        <p14:creationId xmlns:p14="http://schemas.microsoft.com/office/powerpoint/2010/main" val="1153801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37CC842-4CD1-42B8-B8E3-0591A5064E8D}"/>
              </a:ext>
            </a:extLst>
          </p:cNvPr>
          <p:cNvGraphicFramePr>
            <a:graphicFrameLocks noChangeAspect="1"/>
          </p:cNvGraphicFramePr>
          <p:nvPr>
            <p:custDataLst>
              <p:tags r:id="rId2"/>
            </p:custDataLst>
            <p:extLst>
              <p:ext uri="{D42A27DB-BD31-4B8C-83A1-F6EECF244321}">
                <p14:modId xmlns:p14="http://schemas.microsoft.com/office/powerpoint/2010/main" val="19100119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8"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AB982BEC-243B-4857-A6F1-C9CBE137823D}"/>
              </a:ext>
            </a:extLst>
          </p:cNvPr>
          <p:cNvPicPr>
            <a:picLocks noChangeAspect="1"/>
          </p:cNvPicPr>
          <p:nvPr/>
        </p:nvPicPr>
        <p:blipFill>
          <a:blip r:embed="rId7"/>
          <a:stretch>
            <a:fillRect/>
          </a:stretch>
        </p:blipFill>
        <p:spPr>
          <a:xfrm>
            <a:off x="970835" y="1608381"/>
            <a:ext cx="10250330" cy="4305901"/>
          </a:xfrm>
          <a:prstGeom prst="rect">
            <a:avLst/>
          </a:prstGeom>
        </p:spPr>
      </p:pic>
      <p:cxnSp>
        <p:nvCxnSpPr>
          <p:cNvPr id="7" name="Straight Connector 6">
            <a:extLst>
              <a:ext uri="{FF2B5EF4-FFF2-40B4-BE49-F238E27FC236}">
                <a16:creationId xmlns:a16="http://schemas.microsoft.com/office/drawing/2014/main" id="{F39F5E77-DBE3-4C25-AD1A-E629749FC45E}"/>
              </a:ext>
            </a:extLst>
          </p:cNvPr>
          <p:cNvCxnSpPr>
            <a:cxnSpLocks/>
          </p:cNvCxnSpPr>
          <p:nvPr/>
        </p:nvCxnSpPr>
        <p:spPr>
          <a:xfrm>
            <a:off x="1391855" y="1386289"/>
            <a:ext cx="1938969" cy="0"/>
          </a:xfrm>
          <a:prstGeom prst="line">
            <a:avLst/>
          </a:prstGeom>
          <a:ln w="63500" cap="rnd">
            <a:solidFill>
              <a:schemeClr val="tx1">
                <a:lumMod val="75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75EA251-5D3E-41BF-ADE6-B0BBD3A66B73}"/>
              </a:ext>
            </a:extLst>
          </p:cNvPr>
          <p:cNvCxnSpPr>
            <a:cxnSpLocks/>
          </p:cNvCxnSpPr>
          <p:nvPr/>
        </p:nvCxnSpPr>
        <p:spPr>
          <a:xfrm>
            <a:off x="3821017" y="1388125"/>
            <a:ext cx="3097576" cy="0"/>
          </a:xfrm>
          <a:prstGeom prst="line">
            <a:avLst/>
          </a:prstGeom>
          <a:ln w="63500" cap="rnd">
            <a:solidFill>
              <a:schemeClr val="tx1">
                <a:lumMod val="75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4FE9B2CB-199A-4C21-BF14-D8274C548705}"/>
              </a:ext>
            </a:extLst>
          </p:cNvPr>
          <p:cNvCxnSpPr>
            <a:cxnSpLocks/>
          </p:cNvCxnSpPr>
          <p:nvPr/>
        </p:nvCxnSpPr>
        <p:spPr>
          <a:xfrm>
            <a:off x="7410680" y="1386289"/>
            <a:ext cx="3097576" cy="0"/>
          </a:xfrm>
          <a:prstGeom prst="line">
            <a:avLst/>
          </a:prstGeom>
          <a:ln w="63500" cap="rnd">
            <a:solidFill>
              <a:schemeClr val="tx1">
                <a:lumMod val="75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A67D2D47-05EC-4BBC-8721-8B2E716A1709}"/>
              </a:ext>
            </a:extLst>
          </p:cNvPr>
          <p:cNvSpPr/>
          <p:nvPr/>
        </p:nvSpPr>
        <p:spPr>
          <a:xfrm>
            <a:off x="1899514" y="1164198"/>
            <a:ext cx="923651" cy="400110"/>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pPr algn="ctr"/>
            <a:r>
              <a:rPr lang="en-US" sz="2000" dirty="0">
                <a:solidFill>
                  <a:srgbClr val="29BA74"/>
                </a:solidFill>
              </a:rPr>
              <a:t>on/off</a:t>
            </a:r>
          </a:p>
        </p:txBody>
      </p:sp>
      <p:sp>
        <p:nvSpPr>
          <p:cNvPr id="14" name="Rectangle 13">
            <a:extLst>
              <a:ext uri="{FF2B5EF4-FFF2-40B4-BE49-F238E27FC236}">
                <a16:creationId xmlns:a16="http://schemas.microsoft.com/office/drawing/2014/main" id="{AE0192A1-70F2-4328-A4C3-58DE0B12377E}"/>
              </a:ext>
            </a:extLst>
          </p:cNvPr>
          <p:cNvSpPr/>
          <p:nvPr/>
        </p:nvSpPr>
        <p:spPr>
          <a:xfrm>
            <a:off x="4400630" y="1186234"/>
            <a:ext cx="1938351" cy="400110"/>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pPr algn="ctr"/>
            <a:r>
              <a:rPr lang="en-US" sz="2000" dirty="0">
                <a:solidFill>
                  <a:srgbClr val="29BA74"/>
                </a:solidFill>
              </a:rPr>
              <a:t>radiator heater</a:t>
            </a:r>
          </a:p>
        </p:txBody>
      </p:sp>
      <p:sp>
        <p:nvSpPr>
          <p:cNvPr id="15" name="Rectangle 14">
            <a:extLst>
              <a:ext uri="{FF2B5EF4-FFF2-40B4-BE49-F238E27FC236}">
                <a16:creationId xmlns:a16="http://schemas.microsoft.com/office/drawing/2014/main" id="{77683EC3-69CA-467A-A033-FEFDE06D8F3B}"/>
              </a:ext>
            </a:extLst>
          </p:cNvPr>
          <p:cNvSpPr/>
          <p:nvPr/>
        </p:nvSpPr>
        <p:spPr>
          <a:xfrm>
            <a:off x="8306888" y="1186609"/>
            <a:ext cx="1305165" cy="400110"/>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pPr algn="ctr"/>
            <a:r>
              <a:rPr lang="en-US" sz="2000" dirty="0">
                <a:solidFill>
                  <a:srgbClr val="29BA74"/>
                </a:solidFill>
              </a:rPr>
              <a:t>hot water</a:t>
            </a:r>
          </a:p>
        </p:txBody>
      </p:sp>
      <p:sp>
        <p:nvSpPr>
          <p:cNvPr id="28" name="Arc 27">
            <a:extLst>
              <a:ext uri="{FF2B5EF4-FFF2-40B4-BE49-F238E27FC236}">
                <a16:creationId xmlns:a16="http://schemas.microsoft.com/office/drawing/2014/main" id="{A2B25B17-DA53-4A27-BDE6-12F6FE3F67BC}"/>
              </a:ext>
            </a:extLst>
          </p:cNvPr>
          <p:cNvSpPr/>
          <p:nvPr/>
        </p:nvSpPr>
        <p:spPr>
          <a:xfrm>
            <a:off x="4523783" y="2711634"/>
            <a:ext cx="2310493" cy="2435233"/>
          </a:xfrm>
          <a:prstGeom prst="arc">
            <a:avLst>
              <a:gd name="adj1" fmla="val 19292180"/>
              <a:gd name="adj2" fmla="val 3660812"/>
            </a:avLst>
          </a:prstGeom>
          <a:ln w="254000" cap="rnd">
            <a:solidFill>
              <a:srgbClr val="FF0000"/>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27" name="Group 26">
            <a:extLst>
              <a:ext uri="{FF2B5EF4-FFF2-40B4-BE49-F238E27FC236}">
                <a16:creationId xmlns:a16="http://schemas.microsoft.com/office/drawing/2014/main" id="{FBFC4A20-DFF0-4869-A4EC-F36E4B7698A1}"/>
              </a:ext>
            </a:extLst>
          </p:cNvPr>
          <p:cNvGrpSpPr>
            <a:grpSpLocks/>
          </p:cNvGrpSpPr>
          <p:nvPr/>
        </p:nvGrpSpPr>
        <p:grpSpPr>
          <a:xfrm>
            <a:off x="6176416" y="3853220"/>
            <a:ext cx="1315720" cy="1315720"/>
            <a:chOff x="5766030" y="4849441"/>
            <a:chExt cx="1644650" cy="1644650"/>
          </a:xfrm>
        </p:grpSpPr>
        <p:sp>
          <p:nvSpPr>
            <p:cNvPr id="26" name="Rectangle 25">
              <a:extLst>
                <a:ext uri="{FF2B5EF4-FFF2-40B4-BE49-F238E27FC236}">
                  <a16:creationId xmlns:a16="http://schemas.microsoft.com/office/drawing/2014/main" id="{28A4D33B-D749-4853-8263-22F925E728B9}"/>
                </a:ext>
              </a:extLst>
            </p:cNvPr>
            <p:cNvSpPr/>
            <p:nvPr/>
          </p:nvSpPr>
          <p:spPr>
            <a:xfrm>
              <a:off x="6065954" y="5332011"/>
              <a:ext cx="995858" cy="644184"/>
            </a:xfrm>
            <a:prstGeom prst="rect">
              <a:avLst/>
            </a:prstGeom>
            <a:solidFill>
              <a:srgbClr val="FFFFFF"/>
            </a:solidFill>
            <a:ln w="7620"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21" name="Group 20">
              <a:extLst>
                <a:ext uri="{FF2B5EF4-FFF2-40B4-BE49-F238E27FC236}">
                  <a16:creationId xmlns:a16="http://schemas.microsoft.com/office/drawing/2014/main" id="{E564B9AA-9787-49D8-ABD1-8AC80325CFE2}"/>
                </a:ext>
              </a:extLst>
            </p:cNvPr>
            <p:cNvGrpSpPr>
              <a:grpSpLocks noChangeAspect="1"/>
            </p:cNvGrpSpPr>
            <p:nvPr/>
          </p:nvGrpSpPr>
          <p:grpSpPr>
            <a:xfrm>
              <a:off x="5766030" y="4849441"/>
              <a:ext cx="1644650" cy="1644650"/>
              <a:chOff x="5273675" y="2606675"/>
              <a:chExt cx="1644650" cy="1644650"/>
            </a:xfrm>
          </p:grpSpPr>
          <p:sp>
            <p:nvSpPr>
              <p:cNvPr id="22" name="AutoShape 3">
                <a:extLst>
                  <a:ext uri="{FF2B5EF4-FFF2-40B4-BE49-F238E27FC236}">
                    <a16:creationId xmlns:a16="http://schemas.microsoft.com/office/drawing/2014/main" id="{8E480C6F-A352-4C2E-89FA-38534BEE0D96}"/>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grpSp>
            <p:nvGrpSpPr>
              <p:cNvPr id="23" name="Group 22">
                <a:extLst>
                  <a:ext uri="{FF2B5EF4-FFF2-40B4-BE49-F238E27FC236}">
                    <a16:creationId xmlns:a16="http://schemas.microsoft.com/office/drawing/2014/main" id="{6DD418BA-D315-447F-8DB0-80B0B2E5C616}"/>
                  </a:ext>
                </a:extLst>
              </p:cNvPr>
              <p:cNvGrpSpPr/>
              <p:nvPr/>
            </p:nvGrpSpPr>
            <p:grpSpPr>
              <a:xfrm>
                <a:off x="5427663" y="2760663"/>
                <a:ext cx="1335088" cy="1335088"/>
                <a:chOff x="5427663" y="2760663"/>
                <a:chExt cx="1335088" cy="1335088"/>
              </a:xfrm>
            </p:grpSpPr>
            <p:sp>
              <p:nvSpPr>
                <p:cNvPr id="24" name="Freeform 19">
                  <a:extLst>
                    <a:ext uri="{FF2B5EF4-FFF2-40B4-BE49-F238E27FC236}">
                      <a16:creationId xmlns:a16="http://schemas.microsoft.com/office/drawing/2014/main" id="{FA816E17-42DD-4FC2-817F-4C023F3B7291}"/>
                    </a:ext>
                  </a:extLst>
                </p:cNvPr>
                <p:cNvSpPr>
                  <a:spLocks noEditPoints="1"/>
                </p:cNvSpPr>
                <p:nvPr/>
              </p:nvSpPr>
              <p:spPr bwMode="auto">
                <a:xfrm>
                  <a:off x="5427663" y="2760663"/>
                  <a:ext cx="1335088" cy="1335088"/>
                </a:xfrm>
                <a:custGeom>
                  <a:avLst/>
                  <a:gdLst>
                    <a:gd name="T0" fmla="*/ 595 w 841"/>
                    <a:gd name="T1" fmla="*/ 841 h 841"/>
                    <a:gd name="T2" fmla="*/ 246 w 841"/>
                    <a:gd name="T3" fmla="*/ 841 h 841"/>
                    <a:gd name="T4" fmla="*/ 0 w 841"/>
                    <a:gd name="T5" fmla="*/ 595 h 841"/>
                    <a:gd name="T6" fmla="*/ 0 w 841"/>
                    <a:gd name="T7" fmla="*/ 246 h 841"/>
                    <a:gd name="T8" fmla="*/ 246 w 841"/>
                    <a:gd name="T9" fmla="*/ 0 h 841"/>
                    <a:gd name="T10" fmla="*/ 595 w 841"/>
                    <a:gd name="T11" fmla="*/ 0 h 841"/>
                    <a:gd name="T12" fmla="*/ 841 w 841"/>
                    <a:gd name="T13" fmla="*/ 246 h 841"/>
                    <a:gd name="T14" fmla="*/ 841 w 841"/>
                    <a:gd name="T15" fmla="*/ 595 h 841"/>
                    <a:gd name="T16" fmla="*/ 595 w 841"/>
                    <a:gd name="T17" fmla="*/ 841 h 841"/>
                    <a:gd name="T18" fmla="*/ 595 w 841"/>
                    <a:gd name="T19" fmla="*/ 841 h 841"/>
                    <a:gd name="T20" fmla="*/ 595 w 841"/>
                    <a:gd name="T21" fmla="*/ 841 h 841"/>
                    <a:gd name="T22" fmla="*/ 255 w 841"/>
                    <a:gd name="T23" fmla="*/ 822 h 841"/>
                    <a:gd name="T24" fmla="*/ 586 w 841"/>
                    <a:gd name="T25" fmla="*/ 822 h 841"/>
                    <a:gd name="T26" fmla="*/ 822 w 841"/>
                    <a:gd name="T27" fmla="*/ 586 h 841"/>
                    <a:gd name="T28" fmla="*/ 822 w 841"/>
                    <a:gd name="T29" fmla="*/ 255 h 841"/>
                    <a:gd name="T30" fmla="*/ 586 w 841"/>
                    <a:gd name="T31" fmla="*/ 20 h 841"/>
                    <a:gd name="T32" fmla="*/ 255 w 841"/>
                    <a:gd name="T33" fmla="*/ 20 h 841"/>
                    <a:gd name="T34" fmla="*/ 20 w 841"/>
                    <a:gd name="T35" fmla="*/ 255 h 841"/>
                    <a:gd name="T36" fmla="*/ 20 w 841"/>
                    <a:gd name="T37" fmla="*/ 586 h 841"/>
                    <a:gd name="T38" fmla="*/ 255 w 841"/>
                    <a:gd name="T39" fmla="*/ 822 h 841"/>
                    <a:gd name="T40" fmla="*/ 255 w 841"/>
                    <a:gd name="T41" fmla="*/ 822 h 841"/>
                    <a:gd name="T42" fmla="*/ 255 w 841"/>
                    <a:gd name="T43" fmla="*/ 822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41" h="841">
                      <a:moveTo>
                        <a:pt x="595" y="841"/>
                      </a:moveTo>
                      <a:lnTo>
                        <a:pt x="246" y="841"/>
                      </a:lnTo>
                      <a:lnTo>
                        <a:pt x="0" y="595"/>
                      </a:lnTo>
                      <a:lnTo>
                        <a:pt x="0" y="246"/>
                      </a:lnTo>
                      <a:lnTo>
                        <a:pt x="246" y="0"/>
                      </a:lnTo>
                      <a:lnTo>
                        <a:pt x="595" y="0"/>
                      </a:lnTo>
                      <a:lnTo>
                        <a:pt x="841" y="246"/>
                      </a:lnTo>
                      <a:lnTo>
                        <a:pt x="841" y="595"/>
                      </a:lnTo>
                      <a:lnTo>
                        <a:pt x="595" y="841"/>
                      </a:lnTo>
                      <a:lnTo>
                        <a:pt x="595" y="841"/>
                      </a:lnTo>
                      <a:lnTo>
                        <a:pt x="595" y="841"/>
                      </a:lnTo>
                      <a:close/>
                      <a:moveTo>
                        <a:pt x="255" y="822"/>
                      </a:moveTo>
                      <a:lnTo>
                        <a:pt x="586" y="822"/>
                      </a:lnTo>
                      <a:lnTo>
                        <a:pt x="822" y="586"/>
                      </a:lnTo>
                      <a:lnTo>
                        <a:pt x="822" y="255"/>
                      </a:lnTo>
                      <a:lnTo>
                        <a:pt x="586" y="20"/>
                      </a:lnTo>
                      <a:lnTo>
                        <a:pt x="255" y="20"/>
                      </a:lnTo>
                      <a:lnTo>
                        <a:pt x="20" y="255"/>
                      </a:lnTo>
                      <a:lnTo>
                        <a:pt x="20" y="586"/>
                      </a:lnTo>
                      <a:lnTo>
                        <a:pt x="255" y="822"/>
                      </a:lnTo>
                      <a:lnTo>
                        <a:pt x="255" y="822"/>
                      </a:lnTo>
                      <a:lnTo>
                        <a:pt x="255" y="822"/>
                      </a:lnTo>
                      <a:close/>
                    </a:path>
                  </a:pathLst>
                </a:custGeom>
                <a:solidFill>
                  <a:srgbClr val="670F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25" name="Freeform 20">
                  <a:extLst>
                    <a:ext uri="{FF2B5EF4-FFF2-40B4-BE49-F238E27FC236}">
                      <a16:creationId xmlns:a16="http://schemas.microsoft.com/office/drawing/2014/main" id="{5B61F09A-0B3F-4874-B7AE-22570C67EDCE}"/>
                    </a:ext>
                  </a:extLst>
                </p:cNvPr>
                <p:cNvSpPr>
                  <a:spLocks/>
                </p:cNvSpPr>
                <p:nvPr/>
              </p:nvSpPr>
              <p:spPr bwMode="auto">
                <a:xfrm>
                  <a:off x="5491163" y="2822575"/>
                  <a:ext cx="1209675" cy="1211263"/>
                </a:xfrm>
                <a:custGeom>
                  <a:avLst/>
                  <a:gdLst>
                    <a:gd name="connsiteX0" fmla="*/ 927100 w 1209675"/>
                    <a:gd name="connsiteY0" fmla="*/ 427038 h 1211263"/>
                    <a:gd name="connsiteX1" fmla="*/ 960676 w 1209675"/>
                    <a:gd name="connsiteY1" fmla="*/ 427038 h 1211263"/>
                    <a:gd name="connsiteX2" fmla="*/ 997823 w 1209675"/>
                    <a:gd name="connsiteY2" fmla="*/ 441936 h 1211263"/>
                    <a:gd name="connsiteX3" fmla="*/ 1012825 w 1209675"/>
                    <a:gd name="connsiteY3" fmla="*/ 490178 h 1211263"/>
                    <a:gd name="connsiteX4" fmla="*/ 1012825 w 1209675"/>
                    <a:gd name="connsiteY4" fmla="*/ 558993 h 1211263"/>
                    <a:gd name="connsiteX5" fmla="*/ 997823 w 1209675"/>
                    <a:gd name="connsiteY5" fmla="*/ 605815 h 1211263"/>
                    <a:gd name="connsiteX6" fmla="*/ 960676 w 1209675"/>
                    <a:gd name="connsiteY6" fmla="*/ 620713 h 1211263"/>
                    <a:gd name="connsiteX7" fmla="*/ 927100 w 1209675"/>
                    <a:gd name="connsiteY7" fmla="*/ 620713 h 1211263"/>
                    <a:gd name="connsiteX8" fmla="*/ 927100 w 1209675"/>
                    <a:gd name="connsiteY8" fmla="*/ 427038 h 1211263"/>
                    <a:gd name="connsiteX9" fmla="*/ 711916 w 1209675"/>
                    <a:gd name="connsiteY9" fmla="*/ 420688 h 1211263"/>
                    <a:gd name="connsiteX10" fmla="*/ 752746 w 1209675"/>
                    <a:gd name="connsiteY10" fmla="*/ 437860 h 1211263"/>
                    <a:gd name="connsiteX11" fmla="*/ 769937 w 1209675"/>
                    <a:gd name="connsiteY11" fmla="*/ 491522 h 1211263"/>
                    <a:gd name="connsiteX12" fmla="*/ 769937 w 1209675"/>
                    <a:gd name="connsiteY12" fmla="*/ 706170 h 1211263"/>
                    <a:gd name="connsiteX13" fmla="*/ 752746 w 1209675"/>
                    <a:gd name="connsiteY13" fmla="*/ 759832 h 1211263"/>
                    <a:gd name="connsiteX14" fmla="*/ 711200 w 1209675"/>
                    <a:gd name="connsiteY14" fmla="*/ 776288 h 1211263"/>
                    <a:gd name="connsiteX15" fmla="*/ 669654 w 1209675"/>
                    <a:gd name="connsiteY15" fmla="*/ 759832 h 1211263"/>
                    <a:gd name="connsiteX16" fmla="*/ 652462 w 1209675"/>
                    <a:gd name="connsiteY16" fmla="*/ 706170 h 1211263"/>
                    <a:gd name="connsiteX17" fmla="*/ 652462 w 1209675"/>
                    <a:gd name="connsiteY17" fmla="*/ 491522 h 1211263"/>
                    <a:gd name="connsiteX18" fmla="*/ 669654 w 1209675"/>
                    <a:gd name="connsiteY18" fmla="*/ 437144 h 1211263"/>
                    <a:gd name="connsiteX19" fmla="*/ 711916 w 1209675"/>
                    <a:gd name="connsiteY19" fmla="*/ 420688 h 1211263"/>
                    <a:gd name="connsiteX20" fmla="*/ 871537 w 1209675"/>
                    <a:gd name="connsiteY20" fmla="*/ 373063 h 1211263"/>
                    <a:gd name="connsiteX21" fmla="*/ 871537 w 1209675"/>
                    <a:gd name="connsiteY21" fmla="*/ 822326 h 1211263"/>
                    <a:gd name="connsiteX22" fmla="*/ 927882 w 1209675"/>
                    <a:gd name="connsiteY22" fmla="*/ 822326 h 1211263"/>
                    <a:gd name="connsiteX23" fmla="*/ 927882 w 1209675"/>
                    <a:gd name="connsiteY23" fmla="*/ 676851 h 1211263"/>
                    <a:gd name="connsiteX24" fmla="*/ 967109 w 1209675"/>
                    <a:gd name="connsiteY24" fmla="*/ 676851 h 1211263"/>
                    <a:gd name="connsiteX25" fmla="*/ 1039858 w 1209675"/>
                    <a:gd name="connsiteY25" fmla="*/ 647613 h 1211263"/>
                    <a:gd name="connsiteX26" fmla="*/ 1068387 w 1209675"/>
                    <a:gd name="connsiteY26" fmla="*/ 561326 h 1211263"/>
                    <a:gd name="connsiteX27" fmla="*/ 1068387 w 1209675"/>
                    <a:gd name="connsiteY27" fmla="*/ 488588 h 1211263"/>
                    <a:gd name="connsiteX28" fmla="*/ 1039858 w 1209675"/>
                    <a:gd name="connsiteY28" fmla="*/ 402301 h 1211263"/>
                    <a:gd name="connsiteX29" fmla="*/ 967823 w 1209675"/>
                    <a:gd name="connsiteY29" fmla="*/ 373063 h 1211263"/>
                    <a:gd name="connsiteX30" fmla="*/ 871537 w 1209675"/>
                    <a:gd name="connsiteY30" fmla="*/ 373063 h 1211263"/>
                    <a:gd name="connsiteX31" fmla="*/ 363537 w 1209675"/>
                    <a:gd name="connsiteY31" fmla="*/ 373063 h 1211263"/>
                    <a:gd name="connsiteX32" fmla="*/ 363537 w 1209675"/>
                    <a:gd name="connsiteY32" fmla="*/ 427260 h 1211263"/>
                    <a:gd name="connsiteX33" fmla="*/ 442570 w 1209675"/>
                    <a:gd name="connsiteY33" fmla="*/ 427260 h 1211263"/>
                    <a:gd name="connsiteX34" fmla="*/ 442570 w 1209675"/>
                    <a:gd name="connsiteY34" fmla="*/ 822326 h 1211263"/>
                    <a:gd name="connsiteX35" fmla="*/ 498106 w 1209675"/>
                    <a:gd name="connsiteY35" fmla="*/ 822326 h 1211263"/>
                    <a:gd name="connsiteX36" fmla="*/ 498106 w 1209675"/>
                    <a:gd name="connsiteY36" fmla="*/ 427260 h 1211263"/>
                    <a:gd name="connsiteX37" fmla="*/ 577850 w 1209675"/>
                    <a:gd name="connsiteY37" fmla="*/ 427260 h 1211263"/>
                    <a:gd name="connsiteX38" fmla="*/ 577850 w 1209675"/>
                    <a:gd name="connsiteY38" fmla="*/ 373063 h 1211263"/>
                    <a:gd name="connsiteX39" fmla="*/ 363537 w 1209675"/>
                    <a:gd name="connsiteY39" fmla="*/ 373063 h 1211263"/>
                    <a:gd name="connsiteX40" fmla="*/ 711638 w 1209675"/>
                    <a:gd name="connsiteY40" fmla="*/ 366713 h 1211263"/>
                    <a:gd name="connsiteX41" fmla="*/ 666028 w 1209675"/>
                    <a:gd name="connsiteY41" fmla="*/ 374555 h 1211263"/>
                    <a:gd name="connsiteX42" fmla="*/ 629682 w 1209675"/>
                    <a:gd name="connsiteY42" fmla="*/ 398081 h 1211263"/>
                    <a:gd name="connsiteX43" fmla="*/ 605452 w 1209675"/>
                    <a:gd name="connsiteY43" fmla="*/ 435865 h 1211263"/>
                    <a:gd name="connsiteX44" fmla="*/ 596900 w 1209675"/>
                    <a:gd name="connsiteY44" fmla="*/ 488620 h 1211263"/>
                    <a:gd name="connsiteX45" fmla="*/ 596900 w 1209675"/>
                    <a:gd name="connsiteY45" fmla="*/ 706769 h 1211263"/>
                    <a:gd name="connsiteX46" fmla="*/ 605452 w 1209675"/>
                    <a:gd name="connsiteY46" fmla="*/ 759524 h 1211263"/>
                    <a:gd name="connsiteX47" fmla="*/ 629682 w 1209675"/>
                    <a:gd name="connsiteY47" fmla="*/ 798021 h 1211263"/>
                    <a:gd name="connsiteX48" fmla="*/ 666028 w 1209675"/>
                    <a:gd name="connsiteY48" fmla="*/ 820834 h 1211263"/>
                    <a:gd name="connsiteX49" fmla="*/ 711638 w 1209675"/>
                    <a:gd name="connsiteY49" fmla="*/ 828676 h 1211263"/>
                    <a:gd name="connsiteX50" fmla="*/ 756535 w 1209675"/>
                    <a:gd name="connsiteY50" fmla="*/ 820834 h 1211263"/>
                    <a:gd name="connsiteX51" fmla="*/ 793593 w 1209675"/>
                    <a:gd name="connsiteY51" fmla="*/ 798021 h 1211263"/>
                    <a:gd name="connsiteX52" fmla="*/ 818536 w 1209675"/>
                    <a:gd name="connsiteY52" fmla="*/ 759524 h 1211263"/>
                    <a:gd name="connsiteX53" fmla="*/ 827088 w 1209675"/>
                    <a:gd name="connsiteY53" fmla="*/ 706769 h 1211263"/>
                    <a:gd name="connsiteX54" fmla="*/ 827088 w 1209675"/>
                    <a:gd name="connsiteY54" fmla="*/ 488620 h 1211263"/>
                    <a:gd name="connsiteX55" fmla="*/ 818536 w 1209675"/>
                    <a:gd name="connsiteY55" fmla="*/ 435865 h 1211263"/>
                    <a:gd name="connsiteX56" fmla="*/ 793593 w 1209675"/>
                    <a:gd name="connsiteY56" fmla="*/ 398081 h 1211263"/>
                    <a:gd name="connsiteX57" fmla="*/ 756535 w 1209675"/>
                    <a:gd name="connsiteY57" fmla="*/ 374555 h 1211263"/>
                    <a:gd name="connsiteX58" fmla="*/ 711638 w 1209675"/>
                    <a:gd name="connsiteY58" fmla="*/ 366713 h 1211263"/>
                    <a:gd name="connsiteX59" fmla="*/ 242764 w 1209675"/>
                    <a:gd name="connsiteY59" fmla="*/ 366713 h 1211263"/>
                    <a:gd name="connsiteX60" fmla="*/ 171192 w 1209675"/>
                    <a:gd name="connsiteY60" fmla="*/ 396701 h 1211263"/>
                    <a:gd name="connsiteX61" fmla="*/ 144710 w 1209675"/>
                    <a:gd name="connsiteY61" fmla="*/ 478812 h 1211263"/>
                    <a:gd name="connsiteX62" fmla="*/ 166898 w 1209675"/>
                    <a:gd name="connsiteY62" fmla="*/ 560209 h 1211263"/>
                    <a:gd name="connsiteX63" fmla="*/ 227018 w 1209675"/>
                    <a:gd name="connsiteY63" fmla="*/ 614474 h 1211263"/>
                    <a:gd name="connsiteX64" fmla="*/ 252069 w 1209675"/>
                    <a:gd name="connsiteY64" fmla="*/ 630896 h 1211263"/>
                    <a:gd name="connsiteX65" fmla="*/ 274256 w 1209675"/>
                    <a:gd name="connsiteY65" fmla="*/ 651602 h 1211263"/>
                    <a:gd name="connsiteX66" fmla="*/ 289286 w 1209675"/>
                    <a:gd name="connsiteY66" fmla="*/ 678021 h 1211263"/>
                    <a:gd name="connsiteX67" fmla="*/ 295728 w 1209675"/>
                    <a:gd name="connsiteY67" fmla="*/ 713007 h 1211263"/>
                    <a:gd name="connsiteX68" fmla="*/ 247059 w 1209675"/>
                    <a:gd name="connsiteY68" fmla="*/ 777268 h 1211263"/>
                    <a:gd name="connsiteX69" fmla="*/ 208410 w 1209675"/>
                    <a:gd name="connsiteY69" fmla="*/ 759417 h 1211263"/>
                    <a:gd name="connsiteX70" fmla="*/ 194811 w 1209675"/>
                    <a:gd name="connsiteY70" fmla="*/ 700155 h 1211263"/>
                    <a:gd name="connsiteX71" fmla="*/ 194811 w 1209675"/>
                    <a:gd name="connsiteY71" fmla="*/ 682305 h 1211263"/>
                    <a:gd name="connsiteX72" fmla="*/ 139700 w 1209675"/>
                    <a:gd name="connsiteY72" fmla="*/ 682305 h 1211263"/>
                    <a:gd name="connsiteX73" fmla="*/ 139700 w 1209675"/>
                    <a:gd name="connsiteY73" fmla="*/ 700155 h 1211263"/>
                    <a:gd name="connsiteX74" fmla="*/ 147573 w 1209675"/>
                    <a:gd name="connsiteY74" fmla="*/ 761559 h 1211263"/>
                    <a:gd name="connsiteX75" fmla="*/ 170476 w 1209675"/>
                    <a:gd name="connsiteY75" fmla="*/ 801544 h 1211263"/>
                    <a:gd name="connsiteX76" fmla="*/ 204115 w 1209675"/>
                    <a:gd name="connsiteY76" fmla="*/ 822964 h 1211263"/>
                    <a:gd name="connsiteX77" fmla="*/ 246343 w 1209675"/>
                    <a:gd name="connsiteY77" fmla="*/ 828676 h 1211263"/>
                    <a:gd name="connsiteX78" fmla="*/ 293580 w 1209675"/>
                    <a:gd name="connsiteY78" fmla="*/ 820108 h 1211263"/>
                    <a:gd name="connsiteX79" fmla="*/ 326504 w 1209675"/>
                    <a:gd name="connsiteY79" fmla="*/ 794404 h 1211263"/>
                    <a:gd name="connsiteX80" fmla="*/ 345112 w 1209675"/>
                    <a:gd name="connsiteY80" fmla="*/ 756561 h 1211263"/>
                    <a:gd name="connsiteX81" fmla="*/ 350838 w 1209675"/>
                    <a:gd name="connsiteY81" fmla="*/ 708723 h 1211263"/>
                    <a:gd name="connsiteX82" fmla="*/ 344397 w 1209675"/>
                    <a:gd name="connsiteY82" fmla="*/ 659456 h 1211263"/>
                    <a:gd name="connsiteX83" fmla="*/ 325788 w 1209675"/>
                    <a:gd name="connsiteY83" fmla="*/ 622328 h 1211263"/>
                    <a:gd name="connsiteX84" fmla="*/ 297159 w 1209675"/>
                    <a:gd name="connsiteY84" fmla="*/ 592340 h 1211263"/>
                    <a:gd name="connsiteX85" fmla="*/ 260657 w 1209675"/>
                    <a:gd name="connsiteY85" fmla="*/ 565921 h 1211263"/>
                    <a:gd name="connsiteX86" fmla="*/ 236323 w 1209675"/>
                    <a:gd name="connsiteY86" fmla="*/ 548785 h 1211263"/>
                    <a:gd name="connsiteX87" fmla="*/ 216283 w 1209675"/>
                    <a:gd name="connsiteY87" fmla="*/ 529507 h 1211263"/>
                    <a:gd name="connsiteX88" fmla="*/ 203400 w 1209675"/>
                    <a:gd name="connsiteY88" fmla="*/ 505945 h 1211263"/>
                    <a:gd name="connsiteX89" fmla="*/ 199105 w 1209675"/>
                    <a:gd name="connsiteY89" fmla="*/ 475242 h 1211263"/>
                    <a:gd name="connsiteX90" fmla="*/ 210557 w 1209675"/>
                    <a:gd name="connsiteY90" fmla="*/ 433830 h 1211263"/>
                    <a:gd name="connsiteX91" fmla="*/ 242764 w 1209675"/>
                    <a:gd name="connsiteY91" fmla="*/ 419550 h 1211263"/>
                    <a:gd name="connsiteX92" fmla="*/ 274972 w 1209675"/>
                    <a:gd name="connsiteY92" fmla="*/ 433830 h 1211263"/>
                    <a:gd name="connsiteX93" fmla="*/ 288570 w 1209675"/>
                    <a:gd name="connsiteY93" fmla="*/ 483096 h 1211263"/>
                    <a:gd name="connsiteX94" fmla="*/ 288570 w 1209675"/>
                    <a:gd name="connsiteY94" fmla="*/ 502375 h 1211263"/>
                    <a:gd name="connsiteX95" fmla="*/ 341534 w 1209675"/>
                    <a:gd name="connsiteY95" fmla="*/ 502375 h 1211263"/>
                    <a:gd name="connsiteX96" fmla="*/ 341534 w 1209675"/>
                    <a:gd name="connsiteY96" fmla="*/ 483096 h 1211263"/>
                    <a:gd name="connsiteX97" fmla="*/ 315768 w 1209675"/>
                    <a:gd name="connsiteY97" fmla="*/ 393845 h 1211263"/>
                    <a:gd name="connsiteX98" fmla="*/ 242764 w 1209675"/>
                    <a:gd name="connsiteY98" fmla="*/ 366713 h 1211263"/>
                    <a:gd name="connsiteX99" fmla="*/ 354486 w 1209675"/>
                    <a:gd name="connsiteY99" fmla="*/ 0 h 1211263"/>
                    <a:gd name="connsiteX100" fmla="*/ 855189 w 1209675"/>
                    <a:gd name="connsiteY100" fmla="*/ 0 h 1211263"/>
                    <a:gd name="connsiteX101" fmla="*/ 1209675 w 1209675"/>
                    <a:gd name="connsiteY101" fmla="*/ 354952 h 1211263"/>
                    <a:gd name="connsiteX102" fmla="*/ 1209675 w 1209675"/>
                    <a:gd name="connsiteY102" fmla="*/ 856312 h 1211263"/>
                    <a:gd name="connsiteX103" fmla="*/ 855189 w 1209675"/>
                    <a:gd name="connsiteY103" fmla="*/ 1211263 h 1211263"/>
                    <a:gd name="connsiteX104" fmla="*/ 354486 w 1209675"/>
                    <a:gd name="connsiteY104" fmla="*/ 1211263 h 1211263"/>
                    <a:gd name="connsiteX105" fmla="*/ 0 w 1209675"/>
                    <a:gd name="connsiteY105" fmla="*/ 856312 h 1211263"/>
                    <a:gd name="connsiteX106" fmla="*/ 0 w 1209675"/>
                    <a:gd name="connsiteY106" fmla="*/ 354952 h 1211263"/>
                    <a:gd name="connsiteX107" fmla="*/ 354486 w 1209675"/>
                    <a:gd name="connsiteY107" fmla="*/ 0 h 1211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209675" h="1211263">
                      <a:moveTo>
                        <a:pt x="927100" y="427038"/>
                      </a:moveTo>
                      <a:cubicBezTo>
                        <a:pt x="927100" y="427038"/>
                        <a:pt x="927100" y="427038"/>
                        <a:pt x="960676" y="427038"/>
                      </a:cubicBezTo>
                      <a:cubicBezTo>
                        <a:pt x="975678" y="427038"/>
                        <a:pt x="987822" y="432004"/>
                        <a:pt x="997823" y="441936"/>
                      </a:cubicBezTo>
                      <a:cubicBezTo>
                        <a:pt x="1007825" y="451868"/>
                        <a:pt x="1012825" y="467476"/>
                        <a:pt x="1012825" y="490178"/>
                      </a:cubicBezTo>
                      <a:cubicBezTo>
                        <a:pt x="1012825" y="490178"/>
                        <a:pt x="1012825" y="490178"/>
                        <a:pt x="1012825" y="558993"/>
                      </a:cubicBezTo>
                      <a:cubicBezTo>
                        <a:pt x="1012825" y="580985"/>
                        <a:pt x="1007825" y="596592"/>
                        <a:pt x="997823" y="605815"/>
                      </a:cubicBezTo>
                      <a:cubicBezTo>
                        <a:pt x="987822" y="615747"/>
                        <a:pt x="975678" y="620713"/>
                        <a:pt x="960676" y="620713"/>
                      </a:cubicBezTo>
                      <a:cubicBezTo>
                        <a:pt x="960676" y="620713"/>
                        <a:pt x="960676" y="620713"/>
                        <a:pt x="927100" y="620713"/>
                      </a:cubicBezTo>
                      <a:cubicBezTo>
                        <a:pt x="927100" y="620713"/>
                        <a:pt x="927100" y="620713"/>
                        <a:pt x="927100" y="427038"/>
                      </a:cubicBezTo>
                      <a:close/>
                      <a:moveTo>
                        <a:pt x="711916" y="420688"/>
                      </a:moveTo>
                      <a:cubicBezTo>
                        <a:pt x="727675" y="420688"/>
                        <a:pt x="741285" y="426412"/>
                        <a:pt x="752746" y="437860"/>
                      </a:cubicBezTo>
                      <a:cubicBezTo>
                        <a:pt x="764207" y="448592"/>
                        <a:pt x="769937" y="466480"/>
                        <a:pt x="769937" y="491522"/>
                      </a:cubicBezTo>
                      <a:cubicBezTo>
                        <a:pt x="769937" y="491522"/>
                        <a:pt x="769937" y="491522"/>
                        <a:pt x="769937" y="706170"/>
                      </a:cubicBezTo>
                      <a:cubicBezTo>
                        <a:pt x="769937" y="730497"/>
                        <a:pt x="764207" y="748384"/>
                        <a:pt x="752746" y="759832"/>
                      </a:cubicBezTo>
                      <a:cubicBezTo>
                        <a:pt x="741285" y="770564"/>
                        <a:pt x="727675" y="776288"/>
                        <a:pt x="711200" y="776288"/>
                      </a:cubicBezTo>
                      <a:cubicBezTo>
                        <a:pt x="694725" y="776288"/>
                        <a:pt x="680398" y="770564"/>
                        <a:pt x="669654" y="759832"/>
                      </a:cubicBezTo>
                      <a:cubicBezTo>
                        <a:pt x="658193" y="748384"/>
                        <a:pt x="652462" y="730497"/>
                        <a:pt x="652462" y="706170"/>
                      </a:cubicBezTo>
                      <a:cubicBezTo>
                        <a:pt x="652462" y="706170"/>
                        <a:pt x="652462" y="706170"/>
                        <a:pt x="652462" y="491522"/>
                      </a:cubicBezTo>
                      <a:cubicBezTo>
                        <a:pt x="652462" y="466480"/>
                        <a:pt x="658193" y="448592"/>
                        <a:pt x="669654" y="437144"/>
                      </a:cubicBezTo>
                      <a:cubicBezTo>
                        <a:pt x="681115" y="426412"/>
                        <a:pt x="695441" y="420688"/>
                        <a:pt x="711916" y="420688"/>
                      </a:cubicBezTo>
                      <a:close/>
                      <a:moveTo>
                        <a:pt x="871537" y="373063"/>
                      </a:moveTo>
                      <a:cubicBezTo>
                        <a:pt x="871537" y="373063"/>
                        <a:pt x="871537" y="373063"/>
                        <a:pt x="871537" y="822326"/>
                      </a:cubicBezTo>
                      <a:cubicBezTo>
                        <a:pt x="871537" y="822326"/>
                        <a:pt x="871537" y="822326"/>
                        <a:pt x="927882" y="822326"/>
                      </a:cubicBezTo>
                      <a:cubicBezTo>
                        <a:pt x="927882" y="822326"/>
                        <a:pt x="927882" y="822326"/>
                        <a:pt x="927882" y="676851"/>
                      </a:cubicBezTo>
                      <a:cubicBezTo>
                        <a:pt x="927882" y="676851"/>
                        <a:pt x="927882" y="676851"/>
                        <a:pt x="967109" y="676851"/>
                      </a:cubicBezTo>
                      <a:cubicBezTo>
                        <a:pt x="997065" y="676851"/>
                        <a:pt x="1021314" y="666867"/>
                        <a:pt x="1039858" y="647613"/>
                      </a:cubicBezTo>
                      <a:cubicBezTo>
                        <a:pt x="1059115" y="628359"/>
                        <a:pt x="1068387" y="599121"/>
                        <a:pt x="1068387" y="561326"/>
                      </a:cubicBezTo>
                      <a:cubicBezTo>
                        <a:pt x="1068387" y="561326"/>
                        <a:pt x="1068387" y="561326"/>
                        <a:pt x="1068387" y="488588"/>
                      </a:cubicBezTo>
                      <a:cubicBezTo>
                        <a:pt x="1068387" y="450793"/>
                        <a:pt x="1059115" y="421555"/>
                        <a:pt x="1039858" y="402301"/>
                      </a:cubicBezTo>
                      <a:cubicBezTo>
                        <a:pt x="1021314" y="383047"/>
                        <a:pt x="997065" y="373063"/>
                        <a:pt x="967823" y="373063"/>
                      </a:cubicBezTo>
                      <a:cubicBezTo>
                        <a:pt x="967823" y="373063"/>
                        <a:pt x="967823" y="373063"/>
                        <a:pt x="871537" y="373063"/>
                      </a:cubicBezTo>
                      <a:close/>
                      <a:moveTo>
                        <a:pt x="363537" y="373063"/>
                      </a:moveTo>
                      <a:cubicBezTo>
                        <a:pt x="363537" y="373063"/>
                        <a:pt x="363537" y="373063"/>
                        <a:pt x="363537" y="427260"/>
                      </a:cubicBezTo>
                      <a:cubicBezTo>
                        <a:pt x="363537" y="427260"/>
                        <a:pt x="363537" y="427260"/>
                        <a:pt x="442570" y="427260"/>
                      </a:cubicBezTo>
                      <a:cubicBezTo>
                        <a:pt x="442570" y="427260"/>
                        <a:pt x="442570" y="427260"/>
                        <a:pt x="442570" y="822326"/>
                      </a:cubicBezTo>
                      <a:cubicBezTo>
                        <a:pt x="442570" y="822326"/>
                        <a:pt x="442570" y="822326"/>
                        <a:pt x="498106" y="822326"/>
                      </a:cubicBezTo>
                      <a:cubicBezTo>
                        <a:pt x="498106" y="822326"/>
                        <a:pt x="498106" y="822326"/>
                        <a:pt x="498106" y="427260"/>
                      </a:cubicBezTo>
                      <a:cubicBezTo>
                        <a:pt x="498106" y="427260"/>
                        <a:pt x="498106" y="427260"/>
                        <a:pt x="577850" y="427260"/>
                      </a:cubicBezTo>
                      <a:cubicBezTo>
                        <a:pt x="577850" y="427260"/>
                        <a:pt x="577850" y="427260"/>
                        <a:pt x="577850" y="373063"/>
                      </a:cubicBezTo>
                      <a:cubicBezTo>
                        <a:pt x="577850" y="373063"/>
                        <a:pt x="577850" y="373063"/>
                        <a:pt x="363537" y="373063"/>
                      </a:cubicBezTo>
                      <a:close/>
                      <a:moveTo>
                        <a:pt x="711638" y="366713"/>
                      </a:moveTo>
                      <a:cubicBezTo>
                        <a:pt x="695247" y="366713"/>
                        <a:pt x="679568" y="368852"/>
                        <a:pt x="666028" y="374555"/>
                      </a:cubicBezTo>
                      <a:cubicBezTo>
                        <a:pt x="651775" y="379545"/>
                        <a:pt x="639660" y="387387"/>
                        <a:pt x="629682" y="398081"/>
                      </a:cubicBezTo>
                      <a:cubicBezTo>
                        <a:pt x="619705" y="408062"/>
                        <a:pt x="611866" y="420894"/>
                        <a:pt x="605452" y="435865"/>
                      </a:cubicBezTo>
                      <a:cubicBezTo>
                        <a:pt x="599751" y="450836"/>
                        <a:pt x="596900" y="468659"/>
                        <a:pt x="596900" y="488620"/>
                      </a:cubicBezTo>
                      <a:cubicBezTo>
                        <a:pt x="596900" y="488620"/>
                        <a:pt x="596900" y="488620"/>
                        <a:pt x="596900" y="706769"/>
                      </a:cubicBezTo>
                      <a:cubicBezTo>
                        <a:pt x="596900" y="727444"/>
                        <a:pt x="599751" y="744553"/>
                        <a:pt x="605452" y="759524"/>
                      </a:cubicBezTo>
                      <a:cubicBezTo>
                        <a:pt x="611866" y="775208"/>
                        <a:pt x="619705" y="787328"/>
                        <a:pt x="629682" y="798021"/>
                      </a:cubicBezTo>
                      <a:cubicBezTo>
                        <a:pt x="639660" y="808002"/>
                        <a:pt x="651775" y="815844"/>
                        <a:pt x="666028" y="820834"/>
                      </a:cubicBezTo>
                      <a:cubicBezTo>
                        <a:pt x="679568" y="826537"/>
                        <a:pt x="695247" y="828676"/>
                        <a:pt x="711638" y="828676"/>
                      </a:cubicBezTo>
                      <a:cubicBezTo>
                        <a:pt x="728029" y="828676"/>
                        <a:pt x="742995" y="826537"/>
                        <a:pt x="756535" y="820834"/>
                      </a:cubicBezTo>
                      <a:cubicBezTo>
                        <a:pt x="770788" y="815844"/>
                        <a:pt x="782904" y="808002"/>
                        <a:pt x="793593" y="798021"/>
                      </a:cubicBezTo>
                      <a:cubicBezTo>
                        <a:pt x="804283" y="787328"/>
                        <a:pt x="812122" y="775208"/>
                        <a:pt x="818536" y="759524"/>
                      </a:cubicBezTo>
                      <a:cubicBezTo>
                        <a:pt x="824238" y="744553"/>
                        <a:pt x="827088" y="727444"/>
                        <a:pt x="827088" y="706769"/>
                      </a:cubicBezTo>
                      <a:cubicBezTo>
                        <a:pt x="827088" y="706769"/>
                        <a:pt x="827088" y="706769"/>
                        <a:pt x="827088" y="488620"/>
                      </a:cubicBezTo>
                      <a:cubicBezTo>
                        <a:pt x="827088" y="468659"/>
                        <a:pt x="824238" y="450836"/>
                        <a:pt x="818536" y="435865"/>
                      </a:cubicBezTo>
                      <a:cubicBezTo>
                        <a:pt x="812122" y="420894"/>
                        <a:pt x="804283" y="408062"/>
                        <a:pt x="793593" y="398081"/>
                      </a:cubicBezTo>
                      <a:cubicBezTo>
                        <a:pt x="782904" y="387387"/>
                        <a:pt x="770788" y="379545"/>
                        <a:pt x="756535" y="374555"/>
                      </a:cubicBezTo>
                      <a:cubicBezTo>
                        <a:pt x="742995" y="368852"/>
                        <a:pt x="728029" y="366713"/>
                        <a:pt x="711638" y="366713"/>
                      </a:cubicBezTo>
                      <a:close/>
                      <a:moveTo>
                        <a:pt x="242764" y="366713"/>
                      </a:moveTo>
                      <a:cubicBezTo>
                        <a:pt x="212704" y="366713"/>
                        <a:pt x="189085" y="376709"/>
                        <a:pt x="171192" y="396701"/>
                      </a:cubicBezTo>
                      <a:cubicBezTo>
                        <a:pt x="153299" y="415980"/>
                        <a:pt x="144710" y="443826"/>
                        <a:pt x="144710" y="478812"/>
                      </a:cubicBezTo>
                      <a:cubicBezTo>
                        <a:pt x="144710" y="511657"/>
                        <a:pt x="151868" y="538789"/>
                        <a:pt x="166898" y="560209"/>
                      </a:cubicBezTo>
                      <a:cubicBezTo>
                        <a:pt x="181928" y="580915"/>
                        <a:pt x="201968" y="599480"/>
                        <a:pt x="227018" y="614474"/>
                      </a:cubicBezTo>
                      <a:cubicBezTo>
                        <a:pt x="235607" y="619472"/>
                        <a:pt x="244196" y="625184"/>
                        <a:pt x="252069" y="630896"/>
                      </a:cubicBezTo>
                      <a:cubicBezTo>
                        <a:pt x="260657" y="637322"/>
                        <a:pt x="267814" y="644462"/>
                        <a:pt x="274256" y="651602"/>
                      </a:cubicBezTo>
                      <a:cubicBezTo>
                        <a:pt x="280697" y="659456"/>
                        <a:pt x="285708" y="668024"/>
                        <a:pt x="289286" y="678021"/>
                      </a:cubicBezTo>
                      <a:cubicBezTo>
                        <a:pt x="293580" y="688017"/>
                        <a:pt x="295728" y="699441"/>
                        <a:pt x="295728" y="713007"/>
                      </a:cubicBezTo>
                      <a:cubicBezTo>
                        <a:pt x="295728" y="755847"/>
                        <a:pt x="279266" y="777268"/>
                        <a:pt x="247059" y="777268"/>
                      </a:cubicBezTo>
                      <a:cubicBezTo>
                        <a:pt x="229881" y="777268"/>
                        <a:pt x="216998" y="770842"/>
                        <a:pt x="208410" y="759417"/>
                      </a:cubicBezTo>
                      <a:cubicBezTo>
                        <a:pt x="199105" y="747279"/>
                        <a:pt x="194811" y="728001"/>
                        <a:pt x="194811" y="700155"/>
                      </a:cubicBezTo>
                      <a:cubicBezTo>
                        <a:pt x="194811" y="700155"/>
                        <a:pt x="194811" y="700155"/>
                        <a:pt x="194811" y="682305"/>
                      </a:cubicBezTo>
                      <a:cubicBezTo>
                        <a:pt x="194811" y="682305"/>
                        <a:pt x="194811" y="682305"/>
                        <a:pt x="139700" y="682305"/>
                      </a:cubicBezTo>
                      <a:cubicBezTo>
                        <a:pt x="139700" y="682305"/>
                        <a:pt x="139700" y="682305"/>
                        <a:pt x="139700" y="700155"/>
                      </a:cubicBezTo>
                      <a:cubicBezTo>
                        <a:pt x="139700" y="724431"/>
                        <a:pt x="142563" y="745137"/>
                        <a:pt x="147573" y="761559"/>
                      </a:cubicBezTo>
                      <a:cubicBezTo>
                        <a:pt x="153299" y="777982"/>
                        <a:pt x="160456" y="791548"/>
                        <a:pt x="170476" y="801544"/>
                      </a:cubicBezTo>
                      <a:cubicBezTo>
                        <a:pt x="179781" y="811540"/>
                        <a:pt x="191232" y="818680"/>
                        <a:pt x="204115" y="822964"/>
                      </a:cubicBezTo>
                      <a:cubicBezTo>
                        <a:pt x="216998" y="826534"/>
                        <a:pt x="231313" y="828676"/>
                        <a:pt x="246343" y="828676"/>
                      </a:cubicBezTo>
                      <a:cubicBezTo>
                        <a:pt x="264952" y="828676"/>
                        <a:pt x="280697" y="825820"/>
                        <a:pt x="293580" y="820108"/>
                      </a:cubicBezTo>
                      <a:cubicBezTo>
                        <a:pt x="306463" y="813682"/>
                        <a:pt x="317915" y="805114"/>
                        <a:pt x="326504" y="794404"/>
                      </a:cubicBezTo>
                      <a:cubicBezTo>
                        <a:pt x="334377" y="783694"/>
                        <a:pt x="340818" y="770842"/>
                        <a:pt x="345112" y="756561"/>
                      </a:cubicBezTo>
                      <a:cubicBezTo>
                        <a:pt x="348691" y="741567"/>
                        <a:pt x="350838" y="725859"/>
                        <a:pt x="350838" y="708723"/>
                      </a:cubicBezTo>
                      <a:cubicBezTo>
                        <a:pt x="350838" y="690159"/>
                        <a:pt x="348691" y="673736"/>
                        <a:pt x="344397" y="659456"/>
                      </a:cubicBezTo>
                      <a:cubicBezTo>
                        <a:pt x="340102" y="645176"/>
                        <a:pt x="333661" y="633038"/>
                        <a:pt x="325788" y="622328"/>
                      </a:cubicBezTo>
                      <a:cubicBezTo>
                        <a:pt x="317199" y="610904"/>
                        <a:pt x="307895" y="600908"/>
                        <a:pt x="297159" y="592340"/>
                      </a:cubicBezTo>
                      <a:cubicBezTo>
                        <a:pt x="285708" y="583771"/>
                        <a:pt x="273540" y="575203"/>
                        <a:pt x="260657" y="565921"/>
                      </a:cubicBezTo>
                      <a:cubicBezTo>
                        <a:pt x="252069" y="560209"/>
                        <a:pt x="243480" y="554497"/>
                        <a:pt x="236323" y="548785"/>
                      </a:cubicBezTo>
                      <a:cubicBezTo>
                        <a:pt x="229166" y="543073"/>
                        <a:pt x="222008" y="536647"/>
                        <a:pt x="216283" y="529507"/>
                      </a:cubicBezTo>
                      <a:cubicBezTo>
                        <a:pt x="210557" y="522367"/>
                        <a:pt x="206262" y="514513"/>
                        <a:pt x="203400" y="505945"/>
                      </a:cubicBezTo>
                      <a:cubicBezTo>
                        <a:pt x="200537" y="497377"/>
                        <a:pt x="199105" y="486666"/>
                        <a:pt x="199105" y="475242"/>
                      </a:cubicBezTo>
                      <a:cubicBezTo>
                        <a:pt x="199105" y="457392"/>
                        <a:pt x="202684" y="443826"/>
                        <a:pt x="210557" y="433830"/>
                      </a:cubicBezTo>
                      <a:cubicBezTo>
                        <a:pt x="217714" y="424548"/>
                        <a:pt x="229166" y="419550"/>
                        <a:pt x="242764" y="419550"/>
                      </a:cubicBezTo>
                      <a:cubicBezTo>
                        <a:pt x="255647" y="419550"/>
                        <a:pt x="266383" y="424548"/>
                        <a:pt x="274972" y="433830"/>
                      </a:cubicBezTo>
                      <a:cubicBezTo>
                        <a:pt x="283560" y="443826"/>
                        <a:pt x="288570" y="460248"/>
                        <a:pt x="288570" y="483096"/>
                      </a:cubicBezTo>
                      <a:cubicBezTo>
                        <a:pt x="288570" y="483096"/>
                        <a:pt x="288570" y="483096"/>
                        <a:pt x="288570" y="502375"/>
                      </a:cubicBezTo>
                      <a:cubicBezTo>
                        <a:pt x="288570" y="502375"/>
                        <a:pt x="288570" y="502375"/>
                        <a:pt x="341534" y="502375"/>
                      </a:cubicBezTo>
                      <a:cubicBezTo>
                        <a:pt x="341534" y="502375"/>
                        <a:pt x="341534" y="502375"/>
                        <a:pt x="341534" y="483096"/>
                      </a:cubicBezTo>
                      <a:cubicBezTo>
                        <a:pt x="341534" y="442398"/>
                        <a:pt x="332945" y="412410"/>
                        <a:pt x="315768" y="393845"/>
                      </a:cubicBezTo>
                      <a:cubicBezTo>
                        <a:pt x="298591" y="375995"/>
                        <a:pt x="274256" y="366713"/>
                        <a:pt x="242764" y="366713"/>
                      </a:cubicBezTo>
                      <a:close/>
                      <a:moveTo>
                        <a:pt x="354486" y="0"/>
                      </a:moveTo>
                      <a:cubicBezTo>
                        <a:pt x="354486" y="0"/>
                        <a:pt x="354486" y="0"/>
                        <a:pt x="855189" y="0"/>
                      </a:cubicBezTo>
                      <a:cubicBezTo>
                        <a:pt x="855189" y="0"/>
                        <a:pt x="855189" y="0"/>
                        <a:pt x="1209675" y="354952"/>
                      </a:cubicBezTo>
                      <a:cubicBezTo>
                        <a:pt x="1209675" y="354952"/>
                        <a:pt x="1209675" y="354952"/>
                        <a:pt x="1209675" y="856312"/>
                      </a:cubicBezTo>
                      <a:cubicBezTo>
                        <a:pt x="1209675" y="856312"/>
                        <a:pt x="1209675" y="856312"/>
                        <a:pt x="855189" y="1211263"/>
                      </a:cubicBezTo>
                      <a:cubicBezTo>
                        <a:pt x="855189" y="1211263"/>
                        <a:pt x="855189" y="1211263"/>
                        <a:pt x="354486" y="1211263"/>
                      </a:cubicBezTo>
                      <a:cubicBezTo>
                        <a:pt x="354486" y="1211263"/>
                        <a:pt x="354486" y="1211263"/>
                        <a:pt x="0" y="856312"/>
                      </a:cubicBezTo>
                      <a:cubicBezTo>
                        <a:pt x="0" y="856312"/>
                        <a:pt x="0" y="856312"/>
                        <a:pt x="0" y="354952"/>
                      </a:cubicBezTo>
                      <a:cubicBezTo>
                        <a:pt x="0" y="354952"/>
                        <a:pt x="0" y="354952"/>
                        <a:pt x="354486" y="0"/>
                      </a:cubicBezTo>
                      <a:close/>
                    </a:path>
                  </a:pathLst>
                </a:custGeom>
                <a:solidFill>
                  <a:srgbClr val="E71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noAutofit/>
                </a:bodyPr>
                <a:lstStyle/>
                <a:p>
                  <a:endParaRPr lang="en-US" dirty="0"/>
                </a:p>
              </p:txBody>
            </p:sp>
          </p:grpSp>
        </p:grpSp>
      </p:grpSp>
      <p:sp>
        <p:nvSpPr>
          <p:cNvPr id="31" name="Speech Bubble: Rectangle 30">
            <a:extLst>
              <a:ext uri="{FF2B5EF4-FFF2-40B4-BE49-F238E27FC236}">
                <a16:creationId xmlns:a16="http://schemas.microsoft.com/office/drawing/2014/main" id="{DB29449C-FD8A-48ED-B6D0-4A2F1CAF6C64}"/>
              </a:ext>
            </a:extLst>
          </p:cNvPr>
          <p:cNvSpPr/>
          <p:nvPr/>
        </p:nvSpPr>
        <p:spPr>
          <a:xfrm>
            <a:off x="5652948" y="2252995"/>
            <a:ext cx="1452931" cy="409109"/>
          </a:xfrm>
          <a:prstGeom prst="wedgeRectCallout">
            <a:avLst>
              <a:gd name="adj1" fmla="val -49726"/>
              <a:gd name="adj2" fmla="val -91434"/>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FFFFFF"/>
                </a:solidFill>
              </a:rPr>
              <a:t>Heating 👍</a:t>
            </a:r>
          </a:p>
        </p:txBody>
      </p:sp>
    </p:spTree>
    <p:extLst>
      <p:ext uri="{BB962C8B-B14F-4D97-AF65-F5344CB8AC3E}">
        <p14:creationId xmlns:p14="http://schemas.microsoft.com/office/powerpoint/2010/main" val="4086640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pic>
        <p:nvPicPr>
          <p:cNvPr id="3" name="Picture 2">
            <a:extLst>
              <a:ext uri="{FF2B5EF4-FFF2-40B4-BE49-F238E27FC236}">
                <a16:creationId xmlns:a16="http://schemas.microsoft.com/office/drawing/2014/main" id="{350763AE-7130-4E51-AE5D-55C326B54314}"/>
              </a:ext>
            </a:extLst>
          </p:cNvPr>
          <p:cNvPicPr>
            <a:picLocks noChangeAspect="1"/>
          </p:cNvPicPr>
          <p:nvPr/>
        </p:nvPicPr>
        <p:blipFill>
          <a:blip r:embed="rId4"/>
          <a:stretch>
            <a:fillRect/>
          </a:stretch>
        </p:blipFill>
        <p:spPr>
          <a:xfrm>
            <a:off x="3553506" y="2087344"/>
            <a:ext cx="3410426" cy="3410426"/>
          </a:xfrm>
          <a:prstGeom prst="rect">
            <a:avLst/>
          </a:prstGeom>
        </p:spPr>
      </p:pic>
      <p:sp>
        <p:nvSpPr>
          <p:cNvPr id="4" name="Arc 3">
            <a:extLst>
              <a:ext uri="{FF2B5EF4-FFF2-40B4-BE49-F238E27FC236}">
                <a16:creationId xmlns:a16="http://schemas.microsoft.com/office/drawing/2014/main" id="{9A13B0A7-1825-470D-A57A-68184DE1D745}"/>
              </a:ext>
            </a:extLst>
          </p:cNvPr>
          <p:cNvSpPr/>
          <p:nvPr/>
        </p:nvSpPr>
        <p:spPr>
          <a:xfrm>
            <a:off x="3800820" y="2530872"/>
            <a:ext cx="2912272" cy="2680106"/>
          </a:xfrm>
          <a:prstGeom prst="arc">
            <a:avLst>
              <a:gd name="adj1" fmla="val 105984"/>
              <a:gd name="adj2" fmla="val 2524224"/>
            </a:avLst>
          </a:prstGeom>
          <a:ln w="254000" cap="rnd">
            <a:solidFill>
              <a:srgbClr val="FF0000"/>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 name="Arc 4">
            <a:extLst>
              <a:ext uri="{FF2B5EF4-FFF2-40B4-BE49-F238E27FC236}">
                <a16:creationId xmlns:a16="http://schemas.microsoft.com/office/drawing/2014/main" id="{DE48CE9D-5C60-4084-A611-F4A808C9E0B0}"/>
              </a:ext>
            </a:extLst>
          </p:cNvPr>
          <p:cNvSpPr/>
          <p:nvPr/>
        </p:nvSpPr>
        <p:spPr>
          <a:xfrm>
            <a:off x="3800820" y="2530872"/>
            <a:ext cx="2912272" cy="2680106"/>
          </a:xfrm>
          <a:prstGeom prst="arc">
            <a:avLst>
              <a:gd name="adj1" fmla="val 6626761"/>
              <a:gd name="adj2" fmla="val 11099771"/>
            </a:avLst>
          </a:prstGeom>
          <a:ln w="254000" cap="rnd">
            <a:solidFill>
              <a:srgbClr val="FF0000"/>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Arc 5">
            <a:extLst>
              <a:ext uri="{FF2B5EF4-FFF2-40B4-BE49-F238E27FC236}">
                <a16:creationId xmlns:a16="http://schemas.microsoft.com/office/drawing/2014/main" id="{32C0F626-9169-4AA4-BDBB-610E5F4F7570}"/>
              </a:ext>
            </a:extLst>
          </p:cNvPr>
          <p:cNvSpPr/>
          <p:nvPr/>
        </p:nvSpPr>
        <p:spPr>
          <a:xfrm>
            <a:off x="3800820" y="2541889"/>
            <a:ext cx="2912272" cy="2680106"/>
          </a:xfrm>
          <a:prstGeom prst="arc">
            <a:avLst>
              <a:gd name="adj1" fmla="val 2840711"/>
              <a:gd name="adj2" fmla="val 6061437"/>
            </a:avLst>
          </a:prstGeom>
          <a:ln w="2540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Rectangle 6">
            <a:extLst>
              <a:ext uri="{FF2B5EF4-FFF2-40B4-BE49-F238E27FC236}">
                <a16:creationId xmlns:a16="http://schemas.microsoft.com/office/drawing/2014/main" id="{C5FDA643-B29B-4486-9C99-3AF2F9008EE4}"/>
              </a:ext>
            </a:extLst>
          </p:cNvPr>
          <p:cNvSpPr/>
          <p:nvPr/>
        </p:nvSpPr>
        <p:spPr>
          <a:xfrm>
            <a:off x="5508434" y="4842443"/>
            <a:ext cx="484742" cy="52881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dirty="0">
                <a:solidFill>
                  <a:srgbClr val="FFFFFF"/>
                </a:solidFill>
              </a:rPr>
              <a:t>👍</a:t>
            </a:r>
          </a:p>
        </p:txBody>
      </p:sp>
    </p:spTree>
    <p:custDataLst>
      <p:tags r:id="rId1"/>
    </p:custDataLst>
    <p:extLst>
      <p:ext uri="{BB962C8B-B14F-4D97-AF65-F5344CB8AC3E}">
        <p14:creationId xmlns:p14="http://schemas.microsoft.com/office/powerpoint/2010/main" val="10974720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9C7AD7C-56C1-4400-A303-F269847DB24D}"/>
              </a:ext>
            </a:extLst>
          </p:cNvPr>
          <p:cNvGraphicFramePr>
            <a:graphicFrameLocks noChangeAspect="1"/>
          </p:cNvGraphicFramePr>
          <p:nvPr>
            <p:custDataLst>
              <p:tags r:id="rId3"/>
            </p:custDataLst>
            <p:extLst>
              <p:ext uri="{D42A27DB-BD31-4B8C-83A1-F6EECF244321}">
                <p14:modId xmlns:p14="http://schemas.microsoft.com/office/powerpoint/2010/main" val="1471712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2" name="think-cell Slide" r:id="rId6" imgW="592" imgH="591" progId="TCLayout.ActiveDocument.1">
                  <p:embed/>
                </p:oleObj>
              </mc:Choice>
              <mc:Fallback>
                <p:oleObj name="think-cell Slide" r:id="rId6" imgW="592" imgH="591"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B70C8F87-4363-4677-9E25-A4B6DE9A3BF6}"/>
              </a:ext>
            </a:extLst>
          </p:cNvPr>
          <p:cNvPicPr>
            <a:picLocks noChangeAspect="1"/>
          </p:cNvPicPr>
          <p:nvPr/>
        </p:nvPicPr>
        <p:blipFill>
          <a:blip r:embed="rId8"/>
          <a:stretch>
            <a:fillRect/>
          </a:stretch>
        </p:blipFill>
        <p:spPr>
          <a:xfrm>
            <a:off x="3769735" y="0"/>
            <a:ext cx="4652530" cy="6858000"/>
          </a:xfrm>
          <a:prstGeom prst="rect">
            <a:avLst/>
          </a:prstGeom>
        </p:spPr>
      </p:pic>
      <p:sp>
        <p:nvSpPr>
          <p:cNvPr id="5" name="Speech Bubble: Rectangle 4">
            <a:extLst>
              <a:ext uri="{FF2B5EF4-FFF2-40B4-BE49-F238E27FC236}">
                <a16:creationId xmlns:a16="http://schemas.microsoft.com/office/drawing/2014/main" id="{4AAD5F63-DE3F-4578-88DF-67F94501329D}"/>
              </a:ext>
            </a:extLst>
          </p:cNvPr>
          <p:cNvSpPr/>
          <p:nvPr/>
        </p:nvSpPr>
        <p:spPr>
          <a:xfrm>
            <a:off x="3955055" y="5111825"/>
            <a:ext cx="2952521" cy="1112704"/>
          </a:xfrm>
          <a:prstGeom prst="wedgeRectCallout">
            <a:avLst>
              <a:gd name="adj1" fmla="val 25267"/>
              <a:gd name="adj2" fmla="val -165223"/>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af-ZA" sz="2000" noProof="1">
                <a:solidFill>
                  <a:srgbClr val="FFFFFF"/>
                </a:solidFill>
              </a:rPr>
              <a:t>water pressure valve</a:t>
            </a:r>
            <a:br>
              <a:rPr lang="af-ZA" sz="2000" noProof="1">
                <a:solidFill>
                  <a:srgbClr val="FFFFFF"/>
                </a:solidFill>
              </a:rPr>
            </a:br>
            <a:r>
              <a:rPr lang="af-ZA" sz="2000" noProof="1">
                <a:solidFill>
                  <a:srgbClr val="FFFFFF"/>
                </a:solidFill>
              </a:rPr>
              <a:t>valve pression d'eau</a:t>
            </a:r>
          </a:p>
        </p:txBody>
      </p:sp>
    </p:spTree>
    <p:custDataLst>
      <p:tags r:id="rId2"/>
    </p:custDataLst>
    <p:extLst>
      <p:ext uri="{BB962C8B-B14F-4D97-AF65-F5344CB8AC3E}">
        <p14:creationId xmlns:p14="http://schemas.microsoft.com/office/powerpoint/2010/main" val="1047735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9E66898-2CBF-438D-AC56-8E86F482C9A6}"/>
              </a:ext>
            </a:extLst>
          </p:cNvPr>
          <p:cNvGraphicFramePr>
            <a:graphicFrameLocks noChangeAspect="1"/>
          </p:cNvGraphicFramePr>
          <p:nvPr>
            <p:custDataLst>
              <p:tags r:id="rId3"/>
            </p:custDataLst>
            <p:extLst>
              <p:ext uri="{D42A27DB-BD31-4B8C-83A1-F6EECF244321}">
                <p14:modId xmlns:p14="http://schemas.microsoft.com/office/powerpoint/2010/main" val="21999086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4" name="think-cell Slide" r:id="rId6" imgW="592" imgH="591" progId="TCLayout.ActiveDocument.1">
                  <p:embed/>
                </p:oleObj>
              </mc:Choice>
              <mc:Fallback>
                <p:oleObj name="think-cell Slide" r:id="rId6" imgW="592" imgH="591"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8B7BEDA7-2EA3-4195-9D11-CD43A86C174F}"/>
              </a:ext>
            </a:extLst>
          </p:cNvPr>
          <p:cNvPicPr>
            <a:picLocks noChangeAspect="1"/>
          </p:cNvPicPr>
          <p:nvPr/>
        </p:nvPicPr>
        <p:blipFill>
          <a:blip r:embed="rId8"/>
          <a:stretch>
            <a:fillRect/>
          </a:stretch>
        </p:blipFill>
        <p:spPr>
          <a:xfrm>
            <a:off x="1675783" y="161469"/>
            <a:ext cx="8840434" cy="6535062"/>
          </a:xfrm>
          <a:prstGeom prst="rect">
            <a:avLst/>
          </a:prstGeom>
        </p:spPr>
      </p:pic>
      <p:sp>
        <p:nvSpPr>
          <p:cNvPr id="5" name="Partial Circle 4">
            <a:extLst>
              <a:ext uri="{FF2B5EF4-FFF2-40B4-BE49-F238E27FC236}">
                <a16:creationId xmlns:a16="http://schemas.microsoft.com/office/drawing/2014/main" id="{C20E100B-DA52-4E9F-9769-BF0CFAA408DE}"/>
              </a:ext>
            </a:extLst>
          </p:cNvPr>
          <p:cNvSpPr/>
          <p:nvPr/>
        </p:nvSpPr>
        <p:spPr>
          <a:xfrm>
            <a:off x="4441373" y="1663337"/>
            <a:ext cx="3352800" cy="3405051"/>
          </a:xfrm>
          <a:prstGeom prst="pie">
            <a:avLst>
              <a:gd name="adj1" fmla="val 8578330"/>
              <a:gd name="adj2" fmla="val 14392064"/>
            </a:avLst>
          </a:prstGeom>
          <a:solidFill>
            <a:srgbClr val="0070C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 name="Partial Circle 5">
            <a:extLst>
              <a:ext uri="{FF2B5EF4-FFF2-40B4-BE49-F238E27FC236}">
                <a16:creationId xmlns:a16="http://schemas.microsoft.com/office/drawing/2014/main" id="{EF679270-CC8B-4B9A-8E7E-D7B25FDD7EF5}"/>
              </a:ext>
            </a:extLst>
          </p:cNvPr>
          <p:cNvSpPr/>
          <p:nvPr/>
        </p:nvSpPr>
        <p:spPr>
          <a:xfrm>
            <a:off x="4441373" y="1663337"/>
            <a:ext cx="3352800" cy="3405051"/>
          </a:xfrm>
          <a:prstGeom prst="pie">
            <a:avLst>
              <a:gd name="adj1" fmla="val 2011531"/>
              <a:gd name="adj2" fmla="val 5702632"/>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 name="Partial Circle 6">
            <a:extLst>
              <a:ext uri="{FF2B5EF4-FFF2-40B4-BE49-F238E27FC236}">
                <a16:creationId xmlns:a16="http://schemas.microsoft.com/office/drawing/2014/main" id="{58D28300-9F53-4AB8-8326-ED3C820CBF6F}"/>
              </a:ext>
            </a:extLst>
          </p:cNvPr>
          <p:cNvSpPr/>
          <p:nvPr/>
        </p:nvSpPr>
        <p:spPr>
          <a:xfrm>
            <a:off x="4441373" y="1663337"/>
            <a:ext cx="3352800" cy="3405051"/>
          </a:xfrm>
          <a:prstGeom prst="pie">
            <a:avLst>
              <a:gd name="adj1" fmla="val 17422859"/>
              <a:gd name="adj2" fmla="val 2009338"/>
            </a:avLst>
          </a:prstGeom>
          <a:solidFill>
            <a:srgbClr val="0070C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 name="TextBox 7">
            <a:extLst>
              <a:ext uri="{FF2B5EF4-FFF2-40B4-BE49-F238E27FC236}">
                <a16:creationId xmlns:a16="http://schemas.microsoft.com/office/drawing/2014/main" id="{CEE0AA26-7C29-4636-BA3A-C977FF4BBA6A}"/>
              </a:ext>
            </a:extLst>
          </p:cNvPr>
          <p:cNvSpPr txBox="1"/>
          <p:nvPr/>
        </p:nvSpPr>
        <p:spPr>
          <a:xfrm>
            <a:off x="4702631" y="2656115"/>
            <a:ext cx="914400" cy="914400"/>
          </a:xfrm>
          <a:prstGeom prst="rect">
            <a:avLst/>
          </a:prstGeom>
          <a:noFill/>
          <a:ln w="9525" cap="rnd">
            <a:noFill/>
            <a:prstDash val="solid"/>
            <a:round/>
          </a:ln>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2400" dirty="0">
                <a:solidFill>
                  <a:srgbClr val="FFFFFF"/>
                </a:solidFill>
              </a:rPr>
              <a:t>wash</a:t>
            </a:r>
          </a:p>
        </p:txBody>
      </p:sp>
      <p:sp>
        <p:nvSpPr>
          <p:cNvPr id="9" name="TextBox 8">
            <a:extLst>
              <a:ext uri="{FF2B5EF4-FFF2-40B4-BE49-F238E27FC236}">
                <a16:creationId xmlns:a16="http://schemas.microsoft.com/office/drawing/2014/main" id="{BEFDF58D-8CEB-42EC-B3FA-9822B80DD809}"/>
              </a:ext>
            </a:extLst>
          </p:cNvPr>
          <p:cNvSpPr txBox="1"/>
          <p:nvPr/>
        </p:nvSpPr>
        <p:spPr>
          <a:xfrm>
            <a:off x="6546980" y="2656115"/>
            <a:ext cx="914400" cy="914400"/>
          </a:xfrm>
          <a:prstGeom prst="rect">
            <a:avLst/>
          </a:prstGeom>
          <a:noFill/>
          <a:ln w="9525" cap="rnd">
            <a:noFill/>
            <a:prstDash val="solid"/>
            <a:round/>
          </a:ln>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2400" dirty="0">
                <a:solidFill>
                  <a:srgbClr val="FFFFFF"/>
                </a:solidFill>
              </a:rPr>
              <a:t>wash</a:t>
            </a:r>
          </a:p>
        </p:txBody>
      </p:sp>
      <p:sp>
        <p:nvSpPr>
          <p:cNvPr id="10" name="TextBox 9">
            <a:extLst>
              <a:ext uri="{FF2B5EF4-FFF2-40B4-BE49-F238E27FC236}">
                <a16:creationId xmlns:a16="http://schemas.microsoft.com/office/drawing/2014/main" id="{7EAF8405-B0C5-4799-B9E4-90570CC786DB}"/>
              </a:ext>
            </a:extLst>
          </p:cNvPr>
          <p:cNvSpPr txBox="1"/>
          <p:nvPr/>
        </p:nvSpPr>
        <p:spPr>
          <a:xfrm>
            <a:off x="6089780" y="3862251"/>
            <a:ext cx="914400" cy="914400"/>
          </a:xfrm>
          <a:prstGeom prst="rect">
            <a:avLst/>
          </a:prstGeom>
          <a:noFill/>
          <a:ln w="9525" cap="rnd">
            <a:noFill/>
            <a:prstDash val="solid"/>
            <a:round/>
          </a:ln>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2400" dirty="0">
                <a:solidFill>
                  <a:srgbClr val="FFFFFF"/>
                </a:solidFill>
              </a:rPr>
              <a:t>dry</a:t>
            </a:r>
          </a:p>
        </p:txBody>
      </p:sp>
      <p:sp>
        <p:nvSpPr>
          <p:cNvPr id="11" name="TextBox 10">
            <a:extLst>
              <a:ext uri="{FF2B5EF4-FFF2-40B4-BE49-F238E27FC236}">
                <a16:creationId xmlns:a16="http://schemas.microsoft.com/office/drawing/2014/main" id="{7E9FA7A1-42DA-4344-9790-006F3B8D774D}"/>
              </a:ext>
            </a:extLst>
          </p:cNvPr>
          <p:cNvSpPr txBox="1"/>
          <p:nvPr/>
        </p:nvSpPr>
        <p:spPr>
          <a:xfrm>
            <a:off x="5090163" y="3862251"/>
            <a:ext cx="914400" cy="914400"/>
          </a:xfrm>
          <a:prstGeom prst="rect">
            <a:avLst/>
          </a:prstGeom>
          <a:noFill/>
          <a:ln w="9525" cap="rnd">
            <a:noFill/>
            <a:prstDash val="solid"/>
            <a:round/>
          </a:ln>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2400" dirty="0">
                <a:solidFill>
                  <a:schemeClr val="accent6">
                    <a:lumMod val="20000"/>
                    <a:lumOff val="80000"/>
                  </a:schemeClr>
                </a:solidFill>
              </a:rPr>
              <a:t>rinse</a:t>
            </a:r>
          </a:p>
        </p:txBody>
      </p:sp>
    </p:spTree>
    <p:custDataLst>
      <p:tags r:id="rId2"/>
    </p:custDataLst>
    <p:extLst>
      <p:ext uri="{BB962C8B-B14F-4D97-AF65-F5344CB8AC3E}">
        <p14:creationId xmlns:p14="http://schemas.microsoft.com/office/powerpoint/2010/main" val="35566492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1720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76810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BCG_MODE" val="Documentation"/>
  <p:tag name="BCG_DESIGN" val="Title only"/>
  <p:tag name="EE4P_LAYOUT_ID" val="D"/>
</p:tagLst>
</file>

<file path=ppt/tags/tag35.xml><?xml version="1.0" encoding="utf-8"?>
<p:tagLst xmlns:a="http://schemas.openxmlformats.org/drawingml/2006/main" xmlns:r="http://schemas.openxmlformats.org/officeDocument/2006/relationships" xmlns:p="http://schemas.openxmlformats.org/presentationml/2006/main">
  <p:tag name="BCG_MODE" val="Documentation"/>
  <p:tag name="BCG_DESIGN" val="Title only"/>
  <p:tag name="EE4P_LAYOUT_ID" val="D"/>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BCG_MODE" val="Documentation"/>
  <p:tag name="BCG_DESIGN" val="Title only"/>
  <p:tag name="EE4P_LAYOUT_ID" val="D"/>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8830F7DA-A78E-4B82-9935-5CC7FF5B9633}" vid="{52C2632B-9813-48FC-8882-620C42A0A230}"/>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49</Words>
  <Application>Microsoft Office PowerPoint</Application>
  <PresentationFormat>Widescreen</PresentationFormat>
  <Paragraphs>17</Paragraphs>
  <Slides>8</Slides>
  <Notes>7</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8</vt:i4>
      </vt:variant>
      <vt:variant>
        <vt:lpstr>Custom Shows</vt:lpstr>
      </vt:variant>
      <vt:variant>
        <vt:i4>1</vt:i4>
      </vt:variant>
    </vt:vector>
  </HeadingPairs>
  <TitlesOfParts>
    <vt:vector size="13" baseType="lpstr">
      <vt:lpstr>Arial</vt:lpstr>
      <vt:lpstr>Trebuchet MS</vt:lpstr>
      <vt:lpstr>BCG Grid 16:9</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ormat Guide Workshop</vt:lpstr>
    </vt:vector>
  </TitlesOfParts>
  <Company>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kotomalala, Andri</dc:creator>
  <cp:lastModifiedBy>Rakotomalala, Andri</cp:lastModifiedBy>
  <cp:revision>7</cp:revision>
  <cp:lastPrinted>2016-04-06T18:59:25Z</cp:lastPrinted>
  <dcterms:created xsi:type="dcterms:W3CDTF">2021-04-18T19:37:39Z</dcterms:created>
  <dcterms:modified xsi:type="dcterms:W3CDTF">2021-04-18T21:05: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